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8"/>
  </p:notesMasterIdLst>
  <p:handoutMasterIdLst>
    <p:handoutMasterId r:id="rId19"/>
  </p:handoutMasterIdLst>
  <p:sldIdLst>
    <p:sldId id="1229" r:id="rId2"/>
    <p:sldId id="1322" r:id="rId3"/>
    <p:sldId id="1321" r:id="rId4"/>
    <p:sldId id="1329" r:id="rId5"/>
    <p:sldId id="1330" r:id="rId6"/>
    <p:sldId id="1331" r:id="rId7"/>
    <p:sldId id="1338" r:id="rId8"/>
    <p:sldId id="1339" r:id="rId9"/>
    <p:sldId id="1333" r:id="rId10"/>
    <p:sldId id="1341" r:id="rId11"/>
    <p:sldId id="1334" r:id="rId12"/>
    <p:sldId id="1336" r:id="rId13"/>
    <p:sldId id="1335" r:id="rId14"/>
    <p:sldId id="1337" r:id="rId15"/>
    <p:sldId id="1327" r:id="rId16"/>
    <p:sldId id="1326" r:id="rId17"/>
  </p:sldIdLst>
  <p:sldSz cx="9906000" cy="6858000" type="A4"/>
  <p:notesSz cx="6794500" cy="9931400"/>
  <p:custShowLst>
    <p:custShow name="Custom Show 1" id="0">
      <p:sldLst/>
    </p:custShow>
  </p:custShowLst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91" autoAdjust="0"/>
    <p:restoredTop sz="84029" autoAdjust="0"/>
  </p:normalViewPr>
  <p:slideViewPr>
    <p:cSldViewPr>
      <p:cViewPr>
        <p:scale>
          <a:sx n="80" d="100"/>
          <a:sy n="80" d="100"/>
        </p:scale>
        <p:origin x="-1122" y="60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6/2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6/2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3786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5721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9753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8947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36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0586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61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4531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3253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4655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7562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53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4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8/06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nsob.it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n.linciano@consob.it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645024"/>
            <a:ext cx="9001249" cy="2954655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600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Engaging people in retirement saving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200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Insights from cognitive sciences</a:t>
            </a:r>
            <a:endParaRPr lang="en-GB" sz="32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Nadia </a:t>
            </a:r>
            <a:r>
              <a:rPr lang="en-GB" sz="2000" b="1" dirty="0" err="1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Linciano</a:t>
            </a: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8 Training Course “</a:t>
            </a:r>
            <a:r>
              <a:rPr lang="en-US" altLang="zh-CN" sz="1400" i="1" dirty="0">
                <a:latin typeface="Arial" panose="020B0604020202020204" pitchFamily="34" charset="0"/>
              </a:rPr>
              <a:t>Financing the social security system in an ageing society: </a:t>
            </a:r>
          </a:p>
          <a:p>
            <a:pPr algn="ctr" eaLnBrk="0" hangingPunct="0"/>
            <a:r>
              <a:rPr lang="en-US" altLang="zh-CN" sz="1400" i="1" dirty="0">
                <a:latin typeface="Arial" panose="020B0604020202020204" pitchFamily="34" charset="0"/>
              </a:rPr>
              <a:t>the role of public finance and private supplementary funds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July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-15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/>
        </p:nvSpPr>
        <p:spPr>
          <a:xfrm>
            <a:off x="350425" y="1220554"/>
            <a:ext cx="9200197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 a result of behavioural biases,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‘</a:t>
            </a:r>
            <a:r>
              <a:rPr lang="en-US" sz="2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.. households do not smooth consumption much over the life cycle ...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’ (Lusardi, 1999) and hence </a:t>
            </a:r>
            <a:r>
              <a:rPr lang="en-US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dersave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retirement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ed alternative frameworks: E.g., 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havioral life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ycle hypothesis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assuming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ounded rationality and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sing the concepts of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aming,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ntal accounting,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lack of self-control (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hefrin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ler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1988)</a:t>
            </a:r>
          </a:p>
          <a:p>
            <a:pPr lvl="1" algn="just">
              <a:buClr>
                <a:schemeClr val="tx2"/>
              </a:buClr>
              <a:buSzPct val="103000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key assumption of the BLC theory is that households treat components of their wealth as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nfungible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even in the absence of credit rationing. Specifically, wealth is assumed to be divided into three mental accounts: current income, current assets, and future income. The temptation to spend is assumed to be greatest for current income and least for futur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 policy grounds: effective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ols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ed to be </a:t>
            </a:r>
            <a:r>
              <a:rPr lang="en-US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haviourally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formed</a:t>
            </a:r>
            <a:endParaRPr lang="en-GB" sz="2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72480" y="116632"/>
            <a:ext cx="9001124" cy="7200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Why do people </a:t>
            </a:r>
            <a:r>
              <a:rPr lang="en-US" altLang="it-IT" dirty="0" err="1" smtClean="0"/>
              <a:t>undersave</a:t>
            </a:r>
            <a:r>
              <a:rPr lang="en-US" altLang="it-IT" dirty="0" smtClean="0"/>
              <a:t> for retirement?</a:t>
            </a:r>
            <a:endParaRPr lang="it-IT" dirty="0"/>
          </a:p>
          <a:p>
            <a:r>
              <a:rPr lang="en-GB" dirty="0" smtClean="0"/>
              <a:t>A behavioural perspective 			</a:t>
            </a:r>
            <a:r>
              <a:rPr lang="en-GB" dirty="0" smtClean="0"/>
              <a:t>		</a:t>
            </a:r>
            <a:r>
              <a:rPr lang="en-GB" b="0" dirty="0" smtClean="0"/>
              <a:t>(</a:t>
            </a:r>
            <a:r>
              <a:rPr lang="en-GB" b="0" dirty="0"/>
              <a:t>continued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3259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/>
        </p:nvSpPr>
        <p:spPr>
          <a:xfrm>
            <a:off x="344488" y="1128801"/>
            <a:ext cx="920019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’s </a:t>
            </a:r>
            <a:r>
              <a:rPr lang="en-US" sz="2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haviour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mply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 changing the choice architecture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i.e. the way options are presented in the environment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dges for saving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workplace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unts: 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roll employees automatically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se automatic salary escalation to increase contribution rates 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tion of opting out of the plan, change allocations and adjust contributions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utomatic enrolment is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ffectiv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cause of …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ertia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sticking to defaults)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fault option is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ceived as recommended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 policy makers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faults become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erence point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deviations from them feel like losses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lvl="1" algn="just">
              <a:buClr>
                <a:schemeClr val="tx2"/>
              </a:buClr>
              <a:buSzPct val="103000"/>
            </a:pP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nstein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ler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2008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lvl="1" algn="just">
              <a:buClr>
                <a:schemeClr val="tx2"/>
              </a:buClr>
              <a:buSzPct val="103000"/>
            </a:pP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72480" y="260648"/>
            <a:ext cx="9001124" cy="6480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smtClean="0"/>
              <a:t>Policy actions: Nudg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329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/>
        </p:nvSpPr>
        <p:spPr>
          <a:xfrm>
            <a:off x="344488" y="908720"/>
            <a:ext cx="920019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s</a:t>
            </a:r>
            <a:r>
              <a:rPr lang="en-US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dge</a:t>
            </a:r>
            <a:endParaRPr lang="en-US" sz="2400" b="1" dirty="0" smtClean="0">
              <a:solidFill>
                <a:srgbClr val="C0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… preserve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utonomy becaus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 make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me actions easier to select without restricting the choice set </a:t>
            </a:r>
            <a:endParaRPr 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… reduce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rrors and biases by encouraging people to make better decisions ‘as judged by themselves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’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s</a:t>
            </a:r>
            <a:endParaRPr lang="en-GB" sz="2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t-out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cies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based on the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action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the decision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ker: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er commitment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implement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ision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t-out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‘choices’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ss likely to reflect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ision makers'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rue preference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n will more active choices 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t-out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ffectiv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 when ther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 a single optimal course of action, that most people don't take, and that policy-makers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dentify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avour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making it th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fault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fault policies </a:t>
            </a: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y be counterproductive 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f viewed as a substitute for other, more substantive, interventions, such as educational programmes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72480" y="116632"/>
            <a:ext cx="9001124" cy="7920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Policy actions: Nudging</a:t>
            </a:r>
          </a:p>
          <a:p>
            <a:r>
              <a:rPr lang="en-GB" dirty="0" smtClean="0"/>
              <a:t>Pros and C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491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/>
        </p:nvSpPr>
        <p:spPr>
          <a:xfrm>
            <a:off x="344488" y="908720"/>
            <a:ext cx="9200197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Communication is key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to boost saving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culture and push individuals to take personal responsibility for long term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saving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400" dirty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Technology can be used to ameliorate communication and make managing finances easier (</a:t>
            </a:r>
            <a:r>
              <a:rPr lang="en-US" sz="2400" b="1" dirty="0" err="1" smtClean="0">
                <a:latin typeface="Optane" pitchFamily="2" charset="0"/>
                <a:ea typeface="Verdana" pitchFamily="34" charset="0"/>
                <a:cs typeface="Verdana" pitchFamily="34" charset="0"/>
              </a:rPr>
              <a:t>FinTech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). Pensions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industry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slow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to embrace </a:t>
            </a:r>
            <a:r>
              <a:rPr lang="en-US" sz="2400" dirty="0" err="1" smtClean="0">
                <a:latin typeface="Optane" pitchFamily="2" charset="0"/>
                <a:ea typeface="Verdana" pitchFamily="34" charset="0"/>
                <a:cs typeface="Verdana" pitchFamily="34" charset="0"/>
              </a:rPr>
              <a:t>FinTech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, with some exceptions (</a:t>
            </a:r>
            <a:r>
              <a:rPr lang="en-US" sz="2400" dirty="0" err="1" smtClean="0">
                <a:latin typeface="Optane" pitchFamily="2" charset="0"/>
                <a:ea typeface="Verdana" pitchFamily="34" charset="0"/>
                <a:cs typeface="Verdana" pitchFamily="34" charset="0"/>
              </a:rPr>
              <a:t>PensionBee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 in the UK)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400" dirty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b="1" dirty="0" err="1" smtClean="0">
                <a:latin typeface="Optane" pitchFamily="2" charset="0"/>
                <a:ea typeface="Verdana" pitchFamily="34" charset="0"/>
                <a:cs typeface="Verdana" pitchFamily="34" charset="0"/>
              </a:rPr>
              <a:t>Behavioural</a:t>
            </a:r>
            <a:r>
              <a:rPr lang="en-US" sz="24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 insights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: communication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has to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…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be </a:t>
            </a:r>
            <a:r>
              <a:rPr lang="en-US" sz="22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simple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, dealing with real, practical event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make </a:t>
            </a:r>
            <a:r>
              <a:rPr lang="en-US" sz="2200" b="1" dirty="0">
                <a:latin typeface="Optane" pitchFamily="2" charset="0"/>
                <a:ea typeface="Verdana" pitchFamily="34" charset="0"/>
                <a:cs typeface="Verdana" pitchFamily="34" charset="0"/>
              </a:rPr>
              <a:t>emotional connections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with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individuals’ lives and overtake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some stereotypes regarding ‘old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people’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targeted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, relevant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and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contextualized.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Communication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needs to differ across younger and older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workers: temporal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construal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theory suggests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that individuals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farther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away from an event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think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about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it in abstract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terms rather than considering the details of the event, but if an event will occur in the near future, people think more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concretely</a:t>
            </a:r>
          </a:p>
          <a:p>
            <a:pPr lvl="1" algn="just">
              <a:buClr>
                <a:schemeClr val="tx2"/>
              </a:buClr>
              <a:buSzPct val="103000"/>
            </a:pPr>
            <a:r>
              <a:rPr lang="en-GB" sz="16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Alemanni </a:t>
            </a:r>
            <a:r>
              <a:rPr lang="en-GB" sz="16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(2017)</a:t>
            </a:r>
            <a:endParaRPr lang="en-US" sz="1600" dirty="0" smtClean="0"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72480" y="44624"/>
            <a:ext cx="9001124" cy="9087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smtClean="0"/>
              <a:t>Policy actions: engaging </a:t>
            </a:r>
          </a:p>
          <a:p>
            <a:r>
              <a:rPr lang="en-GB" smtClean="0"/>
              <a:t>(towards awareness in pension choices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209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72480" y="44624"/>
            <a:ext cx="9001124" cy="9087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Policy actions: engaging </a:t>
            </a:r>
          </a:p>
          <a:p>
            <a:r>
              <a:rPr lang="en-GB" dirty="0" smtClean="0"/>
              <a:t>(towards awareness in pension choices </a:t>
            </a:r>
            <a:r>
              <a:rPr lang="en-GB" dirty="0" smtClean="0"/>
              <a:t>				- </a:t>
            </a:r>
            <a:r>
              <a:rPr lang="en-GB" b="0" dirty="0" smtClean="0"/>
              <a:t>continued</a:t>
            </a:r>
            <a:r>
              <a:rPr lang="en-GB" dirty="0" smtClean="0"/>
              <a:t>)</a:t>
            </a:r>
            <a:endParaRPr lang="en-GB" dirty="0"/>
          </a:p>
        </p:txBody>
      </p:sp>
      <p:sp>
        <p:nvSpPr>
          <p:cNvPr id="6" name="Rectangle 4"/>
          <p:cNvSpPr/>
          <p:nvPr/>
        </p:nvSpPr>
        <p:spPr>
          <a:xfrm>
            <a:off x="344488" y="995819"/>
            <a:ext cx="9200197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b="1" dirty="0" err="1" smtClean="0">
                <a:latin typeface="Optane" pitchFamily="2" charset="0"/>
                <a:ea typeface="Verdana" pitchFamily="34" charset="0"/>
                <a:cs typeface="Verdana" pitchFamily="34" charset="0"/>
              </a:rPr>
              <a:t>Behavioural</a:t>
            </a:r>
            <a:r>
              <a:rPr lang="en-US" sz="24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 insights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: communication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has to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rely on …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p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roper </a:t>
            </a:r>
            <a:r>
              <a:rPr lang="en-US" sz="24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goal </a:t>
            </a:r>
            <a:r>
              <a:rPr lang="en-US" sz="24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framing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, which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depends also on the target (young versus old workers)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‘</a:t>
            </a:r>
            <a:r>
              <a:rPr lang="en-US" sz="2400" b="1" dirty="0">
                <a:latin typeface="Optane" pitchFamily="2" charset="0"/>
                <a:ea typeface="Verdana" pitchFamily="34" charset="0"/>
                <a:cs typeface="Verdana" pitchFamily="34" charset="0"/>
              </a:rPr>
              <a:t>outcome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’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focused approach: people want to…</a:t>
            </a:r>
          </a:p>
          <a:p>
            <a:pPr marL="1257300" lvl="2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establish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a target income in retirement (‘what do I need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?’)</a:t>
            </a:r>
          </a:p>
          <a:p>
            <a:pPr marL="1257300" lvl="2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know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where they are against that 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target</a:t>
            </a:r>
          </a:p>
          <a:p>
            <a:pPr marL="1257300" lvl="2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k</a:t>
            </a:r>
            <a:r>
              <a:rPr lang="en-US" sz="22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now what </a:t>
            </a:r>
            <a:r>
              <a:rPr lang="en-US" sz="2200" dirty="0">
                <a:latin typeface="Optane" pitchFamily="2" charset="0"/>
                <a:ea typeface="Verdana" pitchFamily="34" charset="0"/>
                <a:cs typeface="Verdana" pitchFamily="34" charset="0"/>
              </a:rPr>
              <a:t>to do about it if it looks like they might miss it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GB" sz="2000" dirty="0" smtClean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Gamification: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people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are more apt to change </a:t>
            </a:r>
            <a:r>
              <a:rPr lang="en-US" sz="2400" dirty="0" err="1" smtClean="0">
                <a:latin typeface="Optane" pitchFamily="2" charset="0"/>
                <a:ea typeface="Verdana" pitchFamily="34" charset="0"/>
                <a:cs typeface="Verdana" pitchFamily="34" charset="0"/>
              </a:rPr>
              <a:t>behaviour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when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engaged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in fun, achievement-oriented tasks with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pre-set rewards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for positive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action (used in healthcare)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000" dirty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Social norms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and ‘make-it-social’ communication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000" dirty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Communication can change </a:t>
            </a:r>
            <a:r>
              <a:rPr lang="en-US" sz="24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perceptions </a:t>
            </a:r>
            <a:r>
              <a:rPr lang="en-US" sz="2400" b="1" dirty="0">
                <a:latin typeface="Optane" pitchFamily="2" charset="0"/>
                <a:ea typeface="Verdana" pitchFamily="34" charset="0"/>
                <a:cs typeface="Verdana" pitchFamily="34" charset="0"/>
              </a:rPr>
              <a:t>and feelings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towards pension as a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concept, which in turn impact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on the decision maker’s attitude towards the 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task (e.g., anxiety about retirement leads to </a:t>
            </a:r>
            <a:r>
              <a:rPr lang="en-US" sz="2400" dirty="0" err="1" smtClean="0">
                <a:latin typeface="Optane" pitchFamily="2" charset="0"/>
                <a:ea typeface="Verdana" pitchFamily="34" charset="0"/>
                <a:cs typeface="Verdana" pitchFamily="34" charset="0"/>
              </a:rPr>
              <a:t>undersaving</a:t>
            </a:r>
            <a:r>
              <a:rPr lang="en-US" sz="24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GB" sz="1600" dirty="0" err="1">
                <a:latin typeface="Optane" pitchFamily="2" charset="0"/>
                <a:ea typeface="Verdana" pitchFamily="34" charset="0"/>
                <a:cs typeface="Verdana" pitchFamily="34" charset="0"/>
              </a:rPr>
              <a:t>Alemanni</a:t>
            </a:r>
            <a:r>
              <a:rPr lang="en-GB" sz="1600" dirty="0">
                <a:latin typeface="Optane" pitchFamily="2" charset="0"/>
                <a:ea typeface="Verdana" pitchFamily="34" charset="0"/>
                <a:cs typeface="Verdana" pitchFamily="34" charset="0"/>
              </a:rPr>
              <a:t> (2017</a:t>
            </a:r>
            <a:r>
              <a:rPr lang="en-GB" sz="16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endParaRPr lang="en-GB" sz="2000" dirty="0"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364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72480" y="188640"/>
            <a:ext cx="9001124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References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086991"/>
            <a:ext cx="9200197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emann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B. (2017), From nudging to engaging in pension, in N.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ncian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P.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corso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eds.) </a:t>
            </a:r>
            <a:r>
              <a:rPr lang="en-US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llenges in ensuring  financial competencies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hlinkClick r:id="rId3"/>
              </a:rPr>
              <a:t>www.consob.it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rdcastl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R.  (2015), How can we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entivis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saving? A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havioural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spective, Department for Work and Pensions,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p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no 109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ture self-continuity: how conceptions of the future self transform intertemporal choice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rshfield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H. E. (2011), Future self-continuity: how conceptions of the future self transform intertemporal choice, Ann N Y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ad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i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30-43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Kahneman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D. (2012), Thinking fast and slow, Penguin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e, J. M. and S. D. Hanna (2015), Savings Goals and Saving Behavior From a Perspective of Maslow’s Hierarchy of Needs, Journal of Financial Counseling and Planning, Volume 26, Issue 2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usardi, A. (1999), ‘Information, Expectations, and Savings for Retirement’, in Henry Aaron (ed.), Behavioral Dimensions of Retirement Economics, Washington, D.C.: Brookings Institution and Russell Sage Foundation, pp. 81–115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ECD (2016), Pensions Outlook 2016, OECD Publishing Paris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hefrin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H. H. and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ler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R. H. (1988), The behavioral life-cycle hypothesis, Economic Inquiry 26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nstein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C. and R.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ler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2008), Nudge: Improving Decisions About Health, Wealth, and Happiness, Yale Univ. Pr. 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ler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.H.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1985), “Mental Accounting and Consumer Choice”, Marketing Science, 4,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p. 199-214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ler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R.H.  (1989), “Saving,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ngibility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Mental Accounts”, Journal of Economic Perspectives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4, pp.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3-205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dirty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86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2492896"/>
            <a:ext cx="9200197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nk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ou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</a:t>
            </a: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our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tention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!</a:t>
            </a:r>
          </a:p>
          <a:p>
            <a:pPr algn="ctr"/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adia Linciano</a:t>
            </a:r>
          </a:p>
          <a:p>
            <a:pPr algn="ctr"/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hlinkClick r:id="rId2"/>
              </a:rPr>
              <a:t>n.linciano@consob.it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16632"/>
            <a:ext cx="6912956" cy="10081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Engaging people in retirement saving</a:t>
            </a:r>
          </a:p>
          <a:p>
            <a:r>
              <a:rPr lang="en-US" altLang="it-IT" sz="2000" dirty="0"/>
              <a:t>Insights from cognitive sciences</a:t>
            </a:r>
          </a:p>
        </p:txBody>
      </p:sp>
    </p:spTree>
    <p:extLst>
      <p:ext uri="{BB962C8B-B14F-4D97-AF65-F5344CB8AC3E}">
        <p14:creationId xmlns:p14="http://schemas.microsoft.com/office/powerpoint/2010/main" val="305031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27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y engaging people in retirement saving is important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ow people can be engaged in retirement </a:t>
            </a:r>
            <a:r>
              <a:rPr 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ving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y standard engagement may not </a:t>
            </a:r>
            <a:r>
              <a:rPr lang="en-US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? A </a:t>
            </a:r>
            <a:r>
              <a:rPr lang="en-US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havioural</a:t>
            </a: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spectiv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cy </a:t>
            </a:r>
            <a:r>
              <a:rPr lang="it-IT" sz="3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ons</a:t>
            </a:r>
            <a:r>
              <a:rPr lang="it-IT" sz="3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it-IT" sz="3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dging</a:t>
            </a:r>
            <a:endParaRPr lang="it-IT" sz="3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cy </a:t>
            </a:r>
            <a:r>
              <a:rPr lang="it-IT" sz="3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ons</a:t>
            </a: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it-IT" sz="3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gaging</a:t>
            </a:r>
            <a:endParaRPr lang="it-IT" sz="3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72480" y="260630"/>
            <a:ext cx="9001124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Why engaging people in retirement saving is important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045760"/>
            <a:ext cx="9200197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a macro perspective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promoting retirement savings …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… may increase national savings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… favours reallocation of savings into retirement products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… 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inforces the role of private pensions in the provision of retirement income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reduce individuals’ reliance on public safety net, to the benefit of sustainability of public finances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.. support long-term investments and, eventually, long-term growth</a:t>
            </a:r>
          </a:p>
          <a:p>
            <a:pPr lvl="1" algn="just">
              <a:buClr>
                <a:schemeClr val="tx2"/>
              </a:buClr>
              <a:buSzPct val="103000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a </a:t>
            </a:r>
            <a:r>
              <a:rPr lang="en-GB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cro perspective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promoting retirement savings enhances individuals’ financial well-being, their ability to control their lifestyle over the life-cycle and their resilience to several (longevity and financial) risks</a:t>
            </a:r>
          </a:p>
          <a:p>
            <a:pPr algn="just">
              <a:buClr>
                <a:schemeClr val="tx2"/>
              </a:buClr>
              <a:buSzPct val="103000"/>
            </a:pPr>
            <a:endParaRPr lang="en-GB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cro and micro perspectives intertwined </a:t>
            </a:r>
          </a:p>
          <a:p>
            <a:pPr algn="just">
              <a:buClr>
                <a:schemeClr val="tx2"/>
              </a:buClr>
              <a:buSzPct val="103000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endParaRPr lang="en-GB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en-GB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ECD (2016)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72480" y="260630"/>
            <a:ext cx="9001124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How </a:t>
            </a:r>
            <a:r>
              <a:rPr lang="en-US" altLang="it-IT" dirty="0" smtClean="0"/>
              <a:t>people can be engaged in retirement saving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1045760"/>
            <a:ext cx="9200197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veral </a:t>
            </a: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cy </a:t>
            </a:r>
            <a:r>
              <a:rPr lang="en-GB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vers …</a:t>
            </a: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sign of pension arrangements</a:t>
            </a: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x treatment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al 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vice for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al education</a:t>
            </a:r>
          </a:p>
          <a:p>
            <a:pPr lvl="1" algn="just">
              <a:buClr>
                <a:schemeClr val="tx2"/>
              </a:buClr>
              <a:buSzPct val="103000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… resting on the </a:t>
            </a:r>
            <a:r>
              <a:rPr lang="en-GB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lassic </a:t>
            </a: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ionality hypothesis 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joy a similar lifestyle in retirement as in one’s working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fe, individuals us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ving and wealth to smooth out incom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ver lifetime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s have well-defined preferences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 th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vailable choice alternatives that allow them to choose the optimal option (i.e. the option maximizing their benefit)</a:t>
            </a:r>
          </a:p>
          <a:p>
            <a:pPr marL="1257300" lvl="2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rational agent takes account of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 available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ormation, probabilities of events, potential costs and benefits and acts consistently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 choosing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best choice</a:t>
            </a:r>
          </a:p>
          <a:p>
            <a:pPr marL="1257300" lvl="2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ional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nt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hows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lf-control in intertemporal choices</a:t>
            </a:r>
          </a:p>
        </p:txBody>
      </p:sp>
    </p:spTree>
    <p:extLst>
      <p:ext uri="{BB962C8B-B14F-4D97-AF65-F5344CB8AC3E}">
        <p14:creationId xmlns:p14="http://schemas.microsoft.com/office/powerpoint/2010/main" val="3119811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72480" y="260630"/>
            <a:ext cx="9001124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Life cycle theory: planning and saving</a:t>
            </a:r>
            <a:endParaRPr lang="it-IT" dirty="0"/>
          </a:p>
        </p:txBody>
      </p:sp>
      <p:sp>
        <p:nvSpPr>
          <p:cNvPr id="3" name="Rectangle 4"/>
          <p:cNvSpPr/>
          <p:nvPr/>
        </p:nvSpPr>
        <p:spPr>
          <a:xfrm>
            <a:off x="350425" y="5939988"/>
            <a:ext cx="92001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urce: </a:t>
            </a:r>
            <a:r>
              <a:rPr lang="it-IT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rdcastle</a:t>
            </a: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2015)</a:t>
            </a:r>
            <a:endParaRPr lang="it-IT" sz="16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5" name="Immagine 4"/>
          <p:cNvPicPr/>
          <p:nvPr/>
        </p:nvPicPr>
        <p:blipFill rotWithShape="1">
          <a:blip r:embed="rId3"/>
          <a:srcRect l="22860" t="28109" r="9208" b="5315"/>
          <a:stretch/>
        </p:blipFill>
        <p:spPr bwMode="auto">
          <a:xfrm>
            <a:off x="488504" y="980728"/>
            <a:ext cx="8713092" cy="489654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928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/>
        </p:nvSpPr>
        <p:spPr>
          <a:xfrm>
            <a:off x="350425" y="980728"/>
            <a:ext cx="9200197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‘real man’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versus the ‘economic’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n (</a:t>
            </a:r>
            <a:r>
              <a:rPr lang="en-GB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Kanehman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2012;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ECD 2016)</a:t>
            </a: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ormation 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verload,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nu 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ffect and choice overload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mited attention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 of thumbs (heuristics)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aming effect, mental accounting, myopia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‘Unstable’ risk tolerance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ertia or ‘status quo </a:t>
            </a:r>
            <a:r>
              <a:rPr lang="en-GB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ias’</a:t>
            </a:r>
            <a:endParaRPr lang="en-GB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ynamic inconsistency (lack of self-control)</a:t>
            </a:r>
          </a:p>
          <a:p>
            <a:pPr lvl="1" algn="just">
              <a:buClr>
                <a:schemeClr val="tx2"/>
              </a:buClr>
              <a:buSzPct val="103000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ormation overload, menu effect and choice overload</a:t>
            </a:r>
          </a:p>
          <a:p>
            <a:pPr lvl="1">
              <a:buClr>
                <a:schemeClr val="tx2"/>
              </a:buClr>
              <a:buSzPct val="103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ormation overload is the individual incapacity to process the information available (either because of lack of time or of competences).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refore, mor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ormation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 not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cessarily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lpful.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 dealing with a high number of options, individuals prefer those they understand better (which are not necessarily the best ones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endParaRPr lang="en-GB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72480" y="116632"/>
            <a:ext cx="9001124" cy="7200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Why standard engagement may not work?</a:t>
            </a:r>
            <a:endParaRPr lang="it-IT" dirty="0"/>
          </a:p>
          <a:p>
            <a:r>
              <a:rPr lang="en-GB" dirty="0" smtClean="0"/>
              <a:t>A behavioural perspectiv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17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/>
        </p:nvSpPr>
        <p:spPr>
          <a:xfrm>
            <a:off x="350425" y="965041"/>
            <a:ext cx="920019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mited attention</a:t>
            </a:r>
            <a:endParaRPr lang="en-GB" sz="2400" b="1" strike="sngStrike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lvl="1" algn="just">
              <a:buClr>
                <a:schemeClr val="tx2"/>
              </a:buClr>
              <a:buSzPct val="103000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s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v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finite amount of attention at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ir disposal and are often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much less attentive to tasks than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y themselve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sume. As a result,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y may forget thing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 miss details that turn out to b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portant and miss benefit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consequences of options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lvl="1" algn="just">
              <a:buClr>
                <a:schemeClr val="tx2"/>
              </a:buClr>
              <a:buSzPct val="103000"/>
            </a:pPr>
            <a:endParaRPr lang="en-GB" sz="2400" dirty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 of thumbs (heuristics</a:t>
            </a:r>
            <a:r>
              <a:rPr lang="en-GB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lvl="1" algn="just">
              <a:buClr>
                <a:schemeClr val="tx2"/>
              </a:buClr>
              <a:buSzPct val="103000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ntal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hortcuts that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ow to make complex decisions by learning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 discovery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sed on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practical approach.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y are not optimal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ional, but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fficient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 reaching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goal</a:t>
            </a:r>
            <a:endParaRPr 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lvl="1" algn="just">
              <a:buClr>
                <a:schemeClr val="tx2"/>
              </a:buClr>
              <a:buSzPct val="103000"/>
            </a:pP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aming effect, mental </a:t>
            </a:r>
            <a:r>
              <a:rPr lang="en-GB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unting</a:t>
            </a:r>
            <a:endParaRPr lang="en-GB" sz="2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lvl="1" algn="just">
              <a:buClr>
                <a:schemeClr val="tx2"/>
              </a:buClr>
              <a:buSzPct val="103000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aming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ffect: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ceptual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henomenon, equivalent to visual illusion, implying that different presentations of the same information may lead to different choices</a:t>
            </a:r>
          </a:p>
          <a:p>
            <a:pPr lvl="1" algn="just">
              <a:buClr>
                <a:schemeClr val="tx2"/>
              </a:buClr>
              <a:buSzPct val="103000"/>
            </a:pP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ntal </a:t>
            </a:r>
            <a:r>
              <a:rPr lang="en-GB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unting: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ndency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peopl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separate their money (income and wealth) into separate accounts based on a variety of subjective criteria, like the source of the money and the purpose for each account (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ler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1985 and 1989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72480" y="44624"/>
            <a:ext cx="9001124" cy="10801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Why standard engagement may not work?</a:t>
            </a:r>
            <a:endParaRPr lang="it-IT" dirty="0"/>
          </a:p>
          <a:p>
            <a:r>
              <a:rPr lang="en-GB" dirty="0"/>
              <a:t>A behavioural </a:t>
            </a:r>
            <a:r>
              <a:rPr lang="en-GB" dirty="0" smtClean="0"/>
              <a:t>perspective    			</a:t>
            </a:r>
            <a:r>
              <a:rPr lang="en-GB" dirty="0" smtClean="0"/>
              <a:t>		</a:t>
            </a:r>
            <a:r>
              <a:rPr lang="en-GB" b="0" dirty="0" smtClean="0"/>
              <a:t>(</a:t>
            </a:r>
            <a:r>
              <a:rPr lang="en-GB" b="0" dirty="0" smtClean="0"/>
              <a:t>continued)</a:t>
            </a: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479384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41658" y="116632"/>
            <a:ext cx="9001124" cy="10801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Why standard engagement may not work?</a:t>
            </a:r>
            <a:endParaRPr lang="it-IT" dirty="0"/>
          </a:p>
          <a:p>
            <a:r>
              <a:rPr lang="en-GB" dirty="0"/>
              <a:t>A behavioural perspective </a:t>
            </a:r>
            <a:r>
              <a:rPr lang="en-GB" dirty="0" smtClean="0"/>
              <a:t>			</a:t>
            </a:r>
            <a:r>
              <a:rPr lang="en-GB" dirty="0" smtClean="0"/>
              <a:t>		</a:t>
            </a:r>
            <a:r>
              <a:rPr lang="en-GB" b="0" dirty="0" smtClean="0"/>
              <a:t>(</a:t>
            </a:r>
            <a:r>
              <a:rPr lang="en-GB" b="0" dirty="0"/>
              <a:t>continued)</a:t>
            </a:r>
            <a:endParaRPr lang="en-GB" dirty="0"/>
          </a:p>
          <a:p>
            <a:endParaRPr lang="en-GB" dirty="0"/>
          </a:p>
        </p:txBody>
      </p:sp>
      <p:sp>
        <p:nvSpPr>
          <p:cNvPr id="2" name="Rettangolo 1"/>
          <p:cNvSpPr/>
          <p:nvPr/>
        </p:nvSpPr>
        <p:spPr>
          <a:xfrm>
            <a:off x="488504" y="980728"/>
            <a:ext cx="8712968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stable </a:t>
            </a: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k tolerance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lvl="1" algn="just">
              <a:buClr>
                <a:schemeClr val="tx2"/>
              </a:buClr>
              <a:buSzPct val="103000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k perception and risk tolerance vary depending on 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aming and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ntal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unts</a:t>
            </a:r>
          </a:p>
          <a:p>
            <a:pPr lvl="1" algn="just">
              <a:buClr>
                <a:schemeClr val="tx2"/>
              </a:buClr>
              <a:buSzPct val="103000"/>
            </a:pP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ertia or ‘status quo </a:t>
            </a:r>
            <a:r>
              <a:rPr lang="en-GB" sz="2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ias’</a:t>
            </a:r>
            <a:endParaRPr lang="en-GB" sz="2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lvl="1" algn="just">
              <a:buClr>
                <a:schemeClr val="tx2"/>
              </a:buClr>
              <a:buSzPct val="103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willingness of individuals to change a decision that has already been made even when it is not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tisfactory.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 weakens the competitive pressures coming from the demand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de</a:t>
            </a:r>
          </a:p>
          <a:p>
            <a:pPr lvl="1" algn="just">
              <a:buClr>
                <a:schemeClr val="tx2"/>
              </a:buClr>
              <a:buSzPct val="103000"/>
            </a:pP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yopia </a:t>
            </a:r>
            <a:endParaRPr lang="en-US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lvl="1" algn="just">
              <a:buClr>
                <a:schemeClr val="tx2"/>
              </a:buClr>
              <a:buSzPct val="103000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titud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focus on short-term outcomes, which may be regarded as safer, even when making long term decisions</a:t>
            </a:r>
          </a:p>
          <a:p>
            <a:pPr lvl="1" algn="just">
              <a:buClr>
                <a:schemeClr val="tx2"/>
              </a:buClr>
              <a:buSzPct val="103000"/>
            </a:pP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ynamic inconsistency or time inconsistency</a:t>
            </a:r>
          </a:p>
          <a:p>
            <a:pPr lvl="1" algn="just">
              <a:buClr>
                <a:schemeClr val="tx2"/>
              </a:buClr>
              <a:buSzPct val="103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pensity to change preferences over time.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lf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ol literatur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es it to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variety of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haviours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cluding procrastination, addiction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efforts at weight loss, and saving for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endParaRPr lang="en-GB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996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/>
        </p:nvSpPr>
        <p:spPr>
          <a:xfrm>
            <a:off x="344488" y="1052736"/>
            <a:ext cx="9200197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sychological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terminants of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dersaving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mporal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counting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present versus future rewards)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nt to sav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 the future but not have the financial means to do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esent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wards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r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ousing and emotional than future rewards </a:t>
            </a:r>
            <a:endParaRPr lang="en-US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t able to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oughts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feelings into the distant future  (people overestimate the degree to which they will feel good about a positive outcome and bad about a negative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utcome)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lvl="1" algn="just">
              <a:buClr>
                <a:schemeClr val="tx2"/>
              </a:buClr>
              <a:buSzPct val="103000"/>
            </a:pP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ture </a:t>
            </a: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lves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ertemporal decision making is impinged by conflicts between temporally distinct selves (e.g.,  a long-term planner and a short-sighted doer) 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ognising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ensions between the wishes of today’s self and the desires of tomorrow’s self may engage in 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ecommitment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trategies constraining future behavior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ving for the future depends on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degree future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lves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perceived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milar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to present selves),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ivid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ing avatar experiments) and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sitive </a:t>
            </a:r>
            <a:r>
              <a:rPr lang="en-GB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</a:t>
            </a:r>
            <a:r>
              <a:rPr lang="en-US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rshfield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1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	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72480" y="116632"/>
            <a:ext cx="9001124" cy="8640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Further considerations on dynamic inconsistency</a:t>
            </a:r>
          </a:p>
          <a:p>
            <a:r>
              <a:rPr lang="en-GB" dirty="0" smtClean="0"/>
              <a:t>Present and future rewards versus future selves theori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0396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783</TotalTime>
  <Words>1940</Words>
  <Application>Microsoft Office PowerPoint</Application>
  <PresentationFormat>A4 (21x29,7 cm)</PresentationFormat>
  <Paragraphs>187</Paragraphs>
  <Slides>16</Slides>
  <Notes>14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  <vt:variant>
        <vt:lpstr>Presentazioni personalizzate</vt:lpstr>
      </vt:variant>
      <vt:variant>
        <vt:i4>1</vt:i4>
      </vt:variant>
    </vt:vector>
  </HeadingPairs>
  <TitlesOfParts>
    <vt:vector size="19" baseType="lpstr">
      <vt:lpstr>SPRP_Correct Power Point Template v1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GdL CONSOB</cp:lastModifiedBy>
  <cp:revision>83</cp:revision>
  <cp:lastPrinted>2015-01-26T19:32:44Z</cp:lastPrinted>
  <dcterms:created xsi:type="dcterms:W3CDTF">2015-09-07T02:11:56Z</dcterms:created>
  <dcterms:modified xsi:type="dcterms:W3CDTF">2018-06-28T09:17:16Z</dcterms:modified>
</cp:coreProperties>
</file>